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76"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39B479-30D7-4957-90E4-651808726C87}" v="54" dt="2023-03-04T00:18:46.0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03" d="100"/>
          <a:sy n="103" d="100"/>
        </p:scale>
        <p:origin x="150" y="648"/>
      </p:cViewPr>
      <p:guideLst>
        <p:guide orient="horz" pos="648"/>
        <p:guide pos="3576"/>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9739B479-30D7-4957-90E4-651808726C87}"/>
    <pc:docChg chg="addSld delSld modSld">
      <pc:chgData name="Roberto Gallardo" userId="49a044883f185952" providerId="LiveId" clId="{9739B479-30D7-4957-90E4-651808726C87}" dt="2023-03-04T00:19:09.261" v="372" actId="1036"/>
      <pc:docMkLst>
        <pc:docMk/>
      </pc:docMkLst>
      <pc:sldChg chg="del">
        <pc:chgData name="Roberto Gallardo" userId="49a044883f185952" providerId="LiveId" clId="{9739B479-30D7-4957-90E4-651808726C87}" dt="2023-02-25T14:47:13.225" v="4" actId="47"/>
        <pc:sldMkLst>
          <pc:docMk/>
          <pc:sldMk cId="1175010214" sldId="261"/>
        </pc:sldMkLst>
      </pc:sldChg>
      <pc:sldChg chg="addSp modSp mod">
        <pc:chgData name="Roberto Gallardo" userId="49a044883f185952" providerId="LiveId" clId="{9739B479-30D7-4957-90E4-651808726C87}" dt="2023-03-04T00:13:24.075" v="16" actId="1076"/>
        <pc:sldMkLst>
          <pc:docMk/>
          <pc:sldMk cId="1418533539" sldId="271"/>
        </pc:sldMkLst>
        <pc:picChg chg="add mod">
          <ac:chgData name="Roberto Gallardo" userId="49a044883f185952" providerId="LiveId" clId="{9739B479-30D7-4957-90E4-651808726C87}" dt="2023-03-04T00:13:24.075" v="16" actId="1076"/>
          <ac:picMkLst>
            <pc:docMk/>
            <pc:sldMk cId="1418533539" sldId="271"/>
            <ac:picMk id="6" creationId="{49EA90FF-47D0-55FD-DC60-91928E137413}"/>
          </ac:picMkLst>
        </pc:picChg>
      </pc:sldChg>
      <pc:sldChg chg="addSp modSp mod">
        <pc:chgData name="Roberto Gallardo" userId="49a044883f185952" providerId="LiveId" clId="{9739B479-30D7-4957-90E4-651808726C87}" dt="2023-03-04T00:15:22.933" v="124" actId="1035"/>
        <pc:sldMkLst>
          <pc:docMk/>
          <pc:sldMk cId="2124848710" sldId="281"/>
        </pc:sldMkLst>
        <pc:picChg chg="add mod">
          <ac:chgData name="Roberto Gallardo" userId="49a044883f185952" providerId="LiveId" clId="{9739B479-30D7-4957-90E4-651808726C87}" dt="2023-03-04T00:15:22.933" v="124" actId="1035"/>
          <ac:picMkLst>
            <pc:docMk/>
            <pc:sldMk cId="2124848710" sldId="281"/>
            <ac:picMk id="6" creationId="{57F99C9D-50E7-B12D-46EE-203FD28E0CEF}"/>
          </ac:picMkLst>
        </pc:picChg>
      </pc:sldChg>
      <pc:sldChg chg="addSp modSp mod">
        <pc:chgData name="Roberto Gallardo" userId="49a044883f185952" providerId="LiveId" clId="{9739B479-30D7-4957-90E4-651808726C87}" dt="2023-03-04T00:15:40.877" v="142" actId="1036"/>
        <pc:sldMkLst>
          <pc:docMk/>
          <pc:sldMk cId="2028175529" sldId="282"/>
        </pc:sldMkLst>
        <pc:picChg chg="add mod">
          <ac:chgData name="Roberto Gallardo" userId="49a044883f185952" providerId="LiveId" clId="{9739B479-30D7-4957-90E4-651808726C87}" dt="2023-03-04T00:15:40.877" v="142" actId="1036"/>
          <ac:picMkLst>
            <pc:docMk/>
            <pc:sldMk cId="2028175529" sldId="282"/>
            <ac:picMk id="7" creationId="{AF07079A-0FFE-0969-07C7-FE6443653F27}"/>
          </ac:picMkLst>
        </pc:picChg>
      </pc:sldChg>
      <pc:sldChg chg="addSp modSp mod">
        <pc:chgData name="Roberto Gallardo" userId="49a044883f185952" providerId="LiveId" clId="{9739B479-30D7-4957-90E4-651808726C87}" dt="2023-03-04T00:15:58.561" v="163" actId="1035"/>
        <pc:sldMkLst>
          <pc:docMk/>
          <pc:sldMk cId="1326517747" sldId="283"/>
        </pc:sldMkLst>
        <pc:picChg chg="add mod">
          <ac:chgData name="Roberto Gallardo" userId="49a044883f185952" providerId="LiveId" clId="{9739B479-30D7-4957-90E4-651808726C87}" dt="2023-03-04T00:15:58.561" v="163" actId="1035"/>
          <ac:picMkLst>
            <pc:docMk/>
            <pc:sldMk cId="1326517747" sldId="283"/>
            <ac:picMk id="7" creationId="{5B513F48-430B-9776-252A-3AE26DA759EF}"/>
          </ac:picMkLst>
        </pc:picChg>
      </pc:sldChg>
      <pc:sldChg chg="addSp modSp mod">
        <pc:chgData name="Roberto Gallardo" userId="49a044883f185952" providerId="LiveId" clId="{9739B479-30D7-4957-90E4-651808726C87}" dt="2023-03-04T00:16:16.287" v="185" actId="1035"/>
        <pc:sldMkLst>
          <pc:docMk/>
          <pc:sldMk cId="783739251" sldId="284"/>
        </pc:sldMkLst>
        <pc:picChg chg="add mod">
          <ac:chgData name="Roberto Gallardo" userId="49a044883f185952" providerId="LiveId" clId="{9739B479-30D7-4957-90E4-651808726C87}" dt="2023-03-04T00:16:16.287" v="185" actId="1035"/>
          <ac:picMkLst>
            <pc:docMk/>
            <pc:sldMk cId="783739251" sldId="284"/>
            <ac:picMk id="7" creationId="{E03722A4-5FC8-8988-101A-23424B986635}"/>
          </ac:picMkLst>
        </pc:picChg>
      </pc:sldChg>
      <pc:sldChg chg="addSp modSp mod">
        <pc:chgData name="Roberto Gallardo" userId="49a044883f185952" providerId="LiveId" clId="{9739B479-30D7-4957-90E4-651808726C87}" dt="2023-03-04T00:16:31.728" v="206" actId="1035"/>
        <pc:sldMkLst>
          <pc:docMk/>
          <pc:sldMk cId="1676122233" sldId="285"/>
        </pc:sldMkLst>
        <pc:picChg chg="add mod">
          <ac:chgData name="Roberto Gallardo" userId="49a044883f185952" providerId="LiveId" clId="{9739B479-30D7-4957-90E4-651808726C87}" dt="2023-03-04T00:16:31.728" v="206" actId="1035"/>
          <ac:picMkLst>
            <pc:docMk/>
            <pc:sldMk cId="1676122233" sldId="285"/>
            <ac:picMk id="7" creationId="{B560F57E-1EDB-DD43-D40F-74CBD42A83DD}"/>
          </ac:picMkLst>
        </pc:picChg>
      </pc:sldChg>
      <pc:sldChg chg="addSp modSp mod">
        <pc:chgData name="Roberto Gallardo" userId="49a044883f185952" providerId="LiveId" clId="{9739B479-30D7-4957-90E4-651808726C87}" dt="2023-03-04T00:16:52.722" v="226" actId="1037"/>
        <pc:sldMkLst>
          <pc:docMk/>
          <pc:sldMk cId="3100398757" sldId="286"/>
        </pc:sldMkLst>
        <pc:picChg chg="add mod">
          <ac:chgData name="Roberto Gallardo" userId="49a044883f185952" providerId="LiveId" clId="{9739B479-30D7-4957-90E4-651808726C87}" dt="2023-03-04T00:16:52.722" v="226" actId="1037"/>
          <ac:picMkLst>
            <pc:docMk/>
            <pc:sldMk cId="3100398757" sldId="286"/>
            <ac:picMk id="7" creationId="{99D801EF-139D-A41E-E048-951DF97D6950}"/>
          </ac:picMkLst>
        </pc:picChg>
      </pc:sldChg>
      <pc:sldChg chg="addSp modSp mod">
        <pc:chgData name="Roberto Gallardo" userId="49a044883f185952" providerId="LiveId" clId="{9739B479-30D7-4957-90E4-651808726C87}" dt="2023-03-04T00:17:07.082" v="243" actId="1036"/>
        <pc:sldMkLst>
          <pc:docMk/>
          <pc:sldMk cId="1546475425" sldId="287"/>
        </pc:sldMkLst>
        <pc:picChg chg="add mod">
          <ac:chgData name="Roberto Gallardo" userId="49a044883f185952" providerId="LiveId" clId="{9739B479-30D7-4957-90E4-651808726C87}" dt="2023-03-04T00:17:07.082" v="243" actId="1036"/>
          <ac:picMkLst>
            <pc:docMk/>
            <pc:sldMk cId="1546475425" sldId="287"/>
            <ac:picMk id="7" creationId="{93335B86-ED8F-741F-E95A-27628C680348}"/>
          </ac:picMkLst>
        </pc:picChg>
      </pc:sldChg>
      <pc:sldChg chg="addSp modSp mod">
        <pc:chgData name="Roberto Gallardo" userId="49a044883f185952" providerId="LiveId" clId="{9739B479-30D7-4957-90E4-651808726C87}" dt="2023-03-04T00:17:39.848" v="273" actId="1035"/>
        <pc:sldMkLst>
          <pc:docMk/>
          <pc:sldMk cId="1380517306" sldId="288"/>
        </pc:sldMkLst>
        <pc:picChg chg="add mod">
          <ac:chgData name="Roberto Gallardo" userId="49a044883f185952" providerId="LiveId" clId="{9739B479-30D7-4957-90E4-651808726C87}" dt="2023-03-04T00:17:39.848" v="273" actId="1035"/>
          <ac:picMkLst>
            <pc:docMk/>
            <pc:sldMk cId="1380517306" sldId="288"/>
            <ac:picMk id="7" creationId="{274DE687-4BB6-C74B-0F0F-005DE044513E}"/>
          </ac:picMkLst>
        </pc:picChg>
      </pc:sldChg>
      <pc:sldChg chg="addSp modSp mod">
        <pc:chgData name="Roberto Gallardo" userId="49a044883f185952" providerId="LiveId" clId="{9739B479-30D7-4957-90E4-651808726C87}" dt="2023-03-04T00:18:03.237" v="297" actId="1036"/>
        <pc:sldMkLst>
          <pc:docMk/>
          <pc:sldMk cId="1388671151" sldId="289"/>
        </pc:sldMkLst>
        <pc:picChg chg="add mod">
          <ac:chgData name="Roberto Gallardo" userId="49a044883f185952" providerId="LiveId" clId="{9739B479-30D7-4957-90E4-651808726C87}" dt="2023-03-04T00:18:03.237" v="297" actId="1036"/>
          <ac:picMkLst>
            <pc:docMk/>
            <pc:sldMk cId="1388671151" sldId="289"/>
            <ac:picMk id="7" creationId="{20704358-D628-2AF7-05EE-B1C68114FBF2}"/>
          </ac:picMkLst>
        </pc:picChg>
      </pc:sldChg>
      <pc:sldChg chg="addSp modSp mod">
        <pc:chgData name="Roberto Gallardo" userId="49a044883f185952" providerId="LiveId" clId="{9739B479-30D7-4957-90E4-651808726C87}" dt="2023-03-04T00:18:39.221" v="339" actId="1035"/>
        <pc:sldMkLst>
          <pc:docMk/>
          <pc:sldMk cId="2355376039" sldId="290"/>
        </pc:sldMkLst>
        <pc:picChg chg="add mod">
          <ac:chgData name="Roberto Gallardo" userId="49a044883f185952" providerId="LiveId" clId="{9739B479-30D7-4957-90E4-651808726C87}" dt="2023-03-04T00:18:39.221" v="339" actId="1035"/>
          <ac:picMkLst>
            <pc:docMk/>
            <pc:sldMk cId="2355376039" sldId="290"/>
            <ac:picMk id="8" creationId="{2957DB3A-FBC5-AC19-D341-296A1753683A}"/>
          </ac:picMkLst>
        </pc:picChg>
      </pc:sldChg>
      <pc:sldChg chg="addSp modSp mod">
        <pc:chgData name="Roberto Gallardo" userId="49a044883f185952" providerId="LiveId" clId="{9739B479-30D7-4957-90E4-651808726C87}" dt="2023-03-04T00:19:09.261" v="372" actId="1036"/>
        <pc:sldMkLst>
          <pc:docMk/>
          <pc:sldMk cId="3757257295" sldId="291"/>
        </pc:sldMkLst>
        <pc:picChg chg="add mod">
          <ac:chgData name="Roberto Gallardo" userId="49a044883f185952" providerId="LiveId" clId="{9739B479-30D7-4957-90E4-651808726C87}" dt="2023-03-04T00:19:09.261" v="372" actId="1036"/>
          <ac:picMkLst>
            <pc:docMk/>
            <pc:sldMk cId="3757257295" sldId="291"/>
            <ac:picMk id="8" creationId="{3897A2A5-8C44-3848-00FD-ACAF82B4032C}"/>
          </ac:picMkLst>
        </pc:picChg>
      </pc:sldChg>
      <pc:sldChg chg="addSp modSp mod">
        <pc:chgData name="Roberto Gallardo" userId="49a044883f185952" providerId="LiveId" clId="{9739B479-30D7-4957-90E4-651808726C87}" dt="2023-03-04T00:17:23.568" v="263" actId="1036"/>
        <pc:sldMkLst>
          <pc:docMk/>
          <pc:sldMk cId="1259856727" sldId="292"/>
        </pc:sldMkLst>
        <pc:picChg chg="add mod">
          <ac:chgData name="Roberto Gallardo" userId="49a044883f185952" providerId="LiveId" clId="{9739B479-30D7-4957-90E4-651808726C87}" dt="2023-03-04T00:17:23.568" v="263" actId="1036"/>
          <ac:picMkLst>
            <pc:docMk/>
            <pc:sldMk cId="1259856727" sldId="292"/>
            <ac:picMk id="7" creationId="{83ACECBF-C419-5AC4-3606-E174F075AC0D}"/>
          </ac:picMkLst>
        </pc:picChg>
      </pc:sldChg>
      <pc:sldChg chg="addSp modSp mod">
        <pc:chgData name="Roberto Gallardo" userId="49a044883f185952" providerId="LiveId" clId="{9739B479-30D7-4957-90E4-651808726C87}" dt="2023-03-04T00:15:04.150" v="100" actId="1035"/>
        <pc:sldMkLst>
          <pc:docMk/>
          <pc:sldMk cId="3324519687" sldId="293"/>
        </pc:sldMkLst>
        <pc:picChg chg="add mod">
          <ac:chgData name="Roberto Gallardo" userId="49a044883f185952" providerId="LiveId" clId="{9739B479-30D7-4957-90E4-651808726C87}" dt="2023-03-04T00:15:04.150" v="100" actId="1035"/>
          <ac:picMkLst>
            <pc:docMk/>
            <pc:sldMk cId="3324519687" sldId="293"/>
            <ac:picMk id="7" creationId="{535E3B87-096D-CA3D-3EFD-3F811AC4763E}"/>
          </ac:picMkLst>
        </pc:picChg>
      </pc:sldChg>
      <pc:sldChg chg="addSp modSp mod">
        <pc:chgData name="Roberto Gallardo" userId="49a044883f185952" providerId="LiveId" clId="{9739B479-30D7-4957-90E4-651808726C87}" dt="2023-03-04T00:14:26.101" v="57" actId="1076"/>
        <pc:sldMkLst>
          <pc:docMk/>
          <pc:sldMk cId="3256182630" sldId="295"/>
        </pc:sldMkLst>
        <pc:picChg chg="add mod">
          <ac:chgData name="Roberto Gallardo" userId="49a044883f185952" providerId="LiveId" clId="{9739B479-30D7-4957-90E4-651808726C87}" dt="2023-03-04T00:14:26.101" v="57" actId="1076"/>
          <ac:picMkLst>
            <pc:docMk/>
            <pc:sldMk cId="3256182630" sldId="295"/>
            <ac:picMk id="7" creationId="{01CD98D8-B686-FC36-9669-0DAE8766A7CA}"/>
          </ac:picMkLst>
        </pc:picChg>
      </pc:sldChg>
      <pc:sldChg chg="addSp modSp mod">
        <pc:chgData name="Roberto Gallardo" userId="49a044883f185952" providerId="LiveId" clId="{9739B479-30D7-4957-90E4-651808726C87}" dt="2023-03-04T00:14:47.993" v="78" actId="1036"/>
        <pc:sldMkLst>
          <pc:docMk/>
          <pc:sldMk cId="4057156843" sldId="296"/>
        </pc:sldMkLst>
        <pc:picChg chg="add mod">
          <ac:chgData name="Roberto Gallardo" userId="49a044883f185952" providerId="LiveId" clId="{9739B479-30D7-4957-90E4-651808726C87}" dt="2023-03-04T00:14:47.993" v="78" actId="1036"/>
          <ac:picMkLst>
            <pc:docMk/>
            <pc:sldMk cId="4057156843" sldId="296"/>
            <ac:picMk id="7" creationId="{F265E08A-07BA-10BC-F786-5181DC79F4A2}"/>
          </ac:picMkLst>
        </pc:picChg>
      </pc:sldChg>
      <pc:sldChg chg="addSp modSp mod">
        <pc:chgData name="Roberto Gallardo" userId="49a044883f185952" providerId="LiveId" clId="{9739B479-30D7-4957-90E4-651808726C87}" dt="2023-03-04T00:13:59.399" v="32" actId="1076"/>
        <pc:sldMkLst>
          <pc:docMk/>
          <pc:sldMk cId="2080110827" sldId="297"/>
        </pc:sldMkLst>
        <pc:picChg chg="add mod">
          <ac:chgData name="Roberto Gallardo" userId="49a044883f185952" providerId="LiveId" clId="{9739B479-30D7-4957-90E4-651808726C87}" dt="2023-03-04T00:13:59.399" v="32" actId="1076"/>
          <ac:picMkLst>
            <pc:docMk/>
            <pc:sldMk cId="2080110827" sldId="297"/>
            <ac:picMk id="6" creationId="{9A5E8E34-1CDA-0F4F-39B4-ADD8C39DD310}"/>
          </ac:picMkLst>
        </pc:picChg>
      </pc:sldChg>
      <pc:sldChg chg="addSp modSp mod">
        <pc:chgData name="Roberto Gallardo" userId="49a044883f185952" providerId="LiveId" clId="{9739B479-30D7-4957-90E4-651808726C87}" dt="2023-03-04T00:13:39.246" v="23" actId="1076"/>
        <pc:sldMkLst>
          <pc:docMk/>
          <pc:sldMk cId="1532666867" sldId="298"/>
        </pc:sldMkLst>
        <pc:picChg chg="add mod">
          <ac:chgData name="Roberto Gallardo" userId="49a044883f185952" providerId="LiveId" clId="{9739B479-30D7-4957-90E4-651808726C87}" dt="2023-03-04T00:13:39.246" v="23" actId="1076"/>
          <ac:picMkLst>
            <pc:docMk/>
            <pc:sldMk cId="1532666867" sldId="298"/>
            <ac:picMk id="6" creationId="{75DAB514-217C-439F-CF1F-735A06DFB917}"/>
          </ac:picMkLst>
        </pc:picChg>
      </pc:sldChg>
      <pc:sldChg chg="addSp modSp mod">
        <pc:chgData name="Roberto Gallardo" userId="49a044883f185952" providerId="LiveId" clId="{9739B479-30D7-4957-90E4-651808726C87}" dt="2023-03-04T00:18:21.645" v="319" actId="1035"/>
        <pc:sldMkLst>
          <pc:docMk/>
          <pc:sldMk cId="1951376777" sldId="299"/>
        </pc:sldMkLst>
        <pc:picChg chg="add mod">
          <ac:chgData name="Roberto Gallardo" userId="49a044883f185952" providerId="LiveId" clId="{9739B479-30D7-4957-90E4-651808726C87}" dt="2023-03-04T00:18:21.645" v="319" actId="1035"/>
          <ac:picMkLst>
            <pc:docMk/>
            <pc:sldMk cId="1951376777" sldId="299"/>
            <ac:picMk id="7" creationId="{3DE6EF86-04D5-039E-5C2D-459193090D27}"/>
          </ac:picMkLst>
        </pc:picChg>
      </pc:sldChg>
      <pc:sldChg chg="modSp mod">
        <pc:chgData name="Roberto Gallardo" userId="49a044883f185952" providerId="LiveId" clId="{9739B479-30D7-4957-90E4-651808726C87}" dt="2023-02-25T13:21:13.942" v="2" actId="20577"/>
        <pc:sldMkLst>
          <pc:docMk/>
          <pc:sldMk cId="1515423683" sldId="302"/>
        </pc:sldMkLst>
        <pc:spChg chg="mod">
          <ac:chgData name="Roberto Gallardo" userId="49a044883f185952" providerId="LiveId" clId="{9739B479-30D7-4957-90E4-651808726C87}" dt="2023-02-25T13:21:13.942" v="2" actId="20577"/>
          <ac:spMkLst>
            <pc:docMk/>
            <pc:sldMk cId="1515423683" sldId="302"/>
            <ac:spMk id="5" creationId="{6AE302AC-8931-4144-BE52-DD1A8BA82462}"/>
          </ac:spMkLst>
        </pc:spChg>
        <pc:spChg chg="mod">
          <ac:chgData name="Roberto Gallardo" userId="49a044883f185952" providerId="LiveId" clId="{9739B479-30D7-4957-90E4-651808726C87}" dt="2023-02-25T13:21:04.607" v="1" actId="20577"/>
          <ac:spMkLst>
            <pc:docMk/>
            <pc:sldMk cId="1515423683" sldId="302"/>
            <ac:spMk id="9" creationId="{E362A98F-7DCD-C67C-23CE-1BE182A133B4}"/>
          </ac:spMkLst>
        </pc:spChg>
      </pc:sldChg>
      <pc:sldChg chg="del">
        <pc:chgData name="Roberto Gallardo" userId="49a044883f185952" providerId="LiveId" clId="{9739B479-30D7-4957-90E4-651808726C87}" dt="2023-02-25T14:47:13.225" v="4" actId="47"/>
        <pc:sldMkLst>
          <pc:docMk/>
          <pc:sldMk cId="2841628872" sldId="303"/>
        </pc:sldMkLst>
      </pc:sldChg>
      <pc:sldChg chg="del">
        <pc:chgData name="Roberto Gallardo" userId="49a044883f185952" providerId="LiveId" clId="{9739B479-30D7-4957-90E4-651808726C87}" dt="2023-02-25T14:47:13.225" v="4" actId="47"/>
        <pc:sldMkLst>
          <pc:docMk/>
          <pc:sldMk cId="3084076302" sldId="304"/>
        </pc:sldMkLst>
      </pc:sldChg>
      <pc:sldChg chg="del">
        <pc:chgData name="Roberto Gallardo" userId="49a044883f185952" providerId="LiveId" clId="{9739B479-30D7-4957-90E4-651808726C87}" dt="2023-02-25T14:47:13.225" v="4" actId="47"/>
        <pc:sldMkLst>
          <pc:docMk/>
          <pc:sldMk cId="473712435" sldId="305"/>
        </pc:sldMkLst>
      </pc:sldChg>
      <pc:sldChg chg="add">
        <pc:chgData name="Roberto Gallardo" userId="49a044883f185952" providerId="LiveId" clId="{9739B479-30D7-4957-90E4-651808726C87}" dt="2023-02-25T14:47:10.118" v="3"/>
        <pc:sldMkLst>
          <pc:docMk/>
          <pc:sldMk cId="980674739" sldId="307"/>
        </pc:sldMkLst>
      </pc:sldChg>
      <pc:sldChg chg="add">
        <pc:chgData name="Roberto Gallardo" userId="49a044883f185952" providerId="LiveId" clId="{9739B479-30D7-4957-90E4-651808726C87}" dt="2023-02-25T14:47:10.118" v="3"/>
        <pc:sldMkLst>
          <pc:docMk/>
          <pc:sldMk cId="1112691377" sldId="308"/>
        </pc:sldMkLst>
      </pc:sldChg>
      <pc:sldChg chg="add">
        <pc:chgData name="Roberto Gallardo" userId="49a044883f185952" providerId="LiveId" clId="{9739B479-30D7-4957-90E4-651808726C87}" dt="2023-02-25T14:47:10.118" v="3"/>
        <pc:sldMkLst>
          <pc:docMk/>
          <pc:sldMk cId="90938935" sldId="309"/>
        </pc:sldMkLst>
      </pc:sldChg>
      <pc:sldChg chg="add">
        <pc:chgData name="Roberto Gallardo" userId="49a044883f185952" providerId="LiveId" clId="{9739B479-30D7-4957-90E4-651808726C87}" dt="2023-02-25T14:47:10.118" v="3"/>
        <pc:sldMkLst>
          <pc:docMk/>
          <pc:sldMk cId="2883303012"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dirty="0">
                <a:solidFill>
                  <a:schemeClr val="bg1"/>
                </a:solidFill>
              </a:rPr>
              <a:t>Pender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AA90086-5604-F640-E41E-66237D98237E}"/>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909389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73B1CBC3-C731-9E48-FA45-E14E17F404C1}"/>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28833030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49EA90FF-47D0-55FD-DC60-91928E1374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75DAB514-217C-439F-CF1F-735A06DFB9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45677"/>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A5E8E34-1CDA-0F4F-39B4-ADD8C39DD3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1" y="1028700"/>
            <a:ext cx="7602618"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9756D97D-566B-1323-FB2F-22B22F33D8C7}"/>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01CD98D8-B686-FC36-9669-0DAE8766A7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0074" y="1428523"/>
            <a:ext cx="6362701" cy="4499429"/>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1B712473-78A5-68AB-276D-A041C6B5FE9E}"/>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F265E08A-07BA-10BC-F786-5181DC79F4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899" y="1435362"/>
            <a:ext cx="6361967" cy="4498910"/>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CE98720D-8B4A-9214-9F28-FE4B9F36BD9F}"/>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535E3B87-096D-CA3D-3EFD-3F811AC476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4690"/>
            <a:ext cx="6362700" cy="4499428"/>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E7C91DF-87E6-D562-025A-9B681D459D7B}"/>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57F99C9D-50E7-B12D-46EE-203FD28E0C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5363"/>
            <a:ext cx="6362700" cy="4499429"/>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0C8358E1-7489-3770-95B0-9733F5C7A030}"/>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F07079A-0FFE-0969-07C7-FE6443653F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5361"/>
            <a:ext cx="6367462" cy="4502796"/>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05EDFAEC-CEE2-0B25-DFC4-EAAC833F642D}"/>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B513F48-430B-9776-252A-3AE26DA759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5360"/>
            <a:ext cx="6362700" cy="4499429"/>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938C7B57-E54B-6F88-F003-FD9FDBD1FBF4}"/>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03722A4-5FC8-8988-101A-23424B9866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5362"/>
            <a:ext cx="6362700" cy="4499429"/>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27859A27-B521-356D-3DE6-F536F88E8926}"/>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B560F57E-1EDB-DD43-D40F-74CBD42A83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5360"/>
            <a:ext cx="6362700" cy="4499429"/>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5DC2D9FB-34E5-14DA-D554-9D0959D57974}"/>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9D801EF-139D-A41E-E048-951DF97D69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7569" y="1436916"/>
            <a:ext cx="6372962" cy="4506686"/>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C8B714E2-0D15-E06D-D3DC-2A6BFD0B181A}"/>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93335B86-ED8F-741F-E95A-27628C6803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5361"/>
            <a:ext cx="6362700" cy="4499428"/>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BFDC0F33-2BF7-71A3-8AF5-3F3DBE14E90C}"/>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83ACECBF-C419-5AC4-3606-E174F075AC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4691"/>
            <a:ext cx="6361381" cy="4498496"/>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8AAA04AB-28A3-3622-1534-07227D1D2C75}"/>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274DE687-4BB6-C74B-0F0F-005DE04451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6654"/>
            <a:ext cx="6362700" cy="4499429"/>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AB6BCA06-F546-4B78-3C9D-D19273EDC4AD}"/>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20704358-D628-2AF7-05EE-B1C68114FB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4098"/>
            <a:ext cx="6362700" cy="4499429"/>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03BE0CA7-4791-084F-6141-B3B4D9D03995}"/>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3DE6EF86-04D5-039E-5C2D-459193090D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899" y="1444691"/>
            <a:ext cx="6362701" cy="4499430"/>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9870231D-DE7A-3557-BC4C-F5BB9AB52E67}"/>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2957DB3A-FBC5-AC19-D341-296A175368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4691"/>
            <a:ext cx="6362700" cy="4499429"/>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F2B8CEF9-E525-6F41-F065-CA3A05020DD1}"/>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5AF3F03B-CC0F-18D3-B8C1-942EBF9594DF}"/>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3897A2A5-8C44-3848-00FD-ACAF82B403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3182"/>
            <a:ext cx="6362700" cy="4499429"/>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D355815F-F904-76A2-5023-A2FC32321350}"/>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CA54222-DEE0-EA3D-39B3-7F52382BE711}"/>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5AE0AB2-33CE-96E3-3B10-6266EA228170}"/>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47844" y="2199582"/>
            <a:ext cx="1198148" cy="1996363"/>
            <a:chOff x="8052264" y="2649225"/>
            <a:chExt cx="1198148" cy="1996363"/>
          </a:xfrm>
        </p:grpSpPr>
        <p:sp>
          <p:nvSpPr>
            <p:cNvPr id="21" name="TextBox 20">
              <a:extLst>
                <a:ext uri="{FF2B5EF4-FFF2-40B4-BE49-F238E27FC236}">
                  <a16:creationId xmlns:a16="http://schemas.microsoft.com/office/drawing/2014/main" id="{9A68ADBE-AECC-EE60-7E94-3675B33E08AE}"/>
                </a:ext>
              </a:extLst>
            </p:cNvPr>
            <p:cNvSpPr txBox="1"/>
            <p:nvPr/>
          </p:nvSpPr>
          <p:spPr>
            <a:xfrm>
              <a:off x="8052264" y="321606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8</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464558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6492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8639518" y="2649225"/>
              <a:ext cx="0" cy="4769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51338" y="4108620"/>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25650" y="2399607"/>
            <a:ext cx="1198148" cy="2081163"/>
            <a:chOff x="10485745" y="3048087"/>
            <a:chExt cx="1198148" cy="208116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71275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0.9</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512925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305761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p:cNvCxnSpPr>
            <p:nvPr/>
          </p:nvCxnSpPr>
          <p:spPr>
            <a:xfrm>
              <a:off x="11084819" y="3048087"/>
              <a:ext cx="0" cy="6456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605311"/>
              <a:ext cx="0" cy="5239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FEA6E514-E419-A047-4006-8A7DC5301E9F}"/>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101E6F80-7E5A-5C04-C8DD-2903B41E0A44}"/>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516A467-E866-A2AB-5E5E-7022369EFB6F}"/>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EB8412FC-8EF3-C503-21AB-435EAD663237}"/>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0E6E1508-7C17-E57F-82DC-2BE7A812D3B5}"/>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DC4942C9-56C4-8AD3-519E-FDBAB6664E9E}"/>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A2EED61F-0B96-6CB6-A406-375727605DEE}"/>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9806747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AA46796F-6ACF-7C54-DE03-7D415163EC6D}"/>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1112691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59</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80</cp:revision>
  <dcterms:created xsi:type="dcterms:W3CDTF">2022-07-04T13:32:28Z</dcterms:created>
  <dcterms:modified xsi:type="dcterms:W3CDTF">2023-03-04T00:19:15Z</dcterms:modified>
</cp:coreProperties>
</file>